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A9924B-EC74-49ED-8061-BD28F43D0312}" v="49" dt="2023-03-09T01:12:23.3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0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60A9924B-EC74-49ED-8061-BD28F43D0312}"/>
    <pc:docChg chg="modSld">
      <pc:chgData name="Roberto Gallardo" userId="49a044883f185952" providerId="LiveId" clId="{60A9924B-EC74-49ED-8061-BD28F43D0312}" dt="2023-03-09T01:12:34.679" v="406" actId="1036"/>
      <pc:docMkLst>
        <pc:docMk/>
      </pc:docMkLst>
      <pc:sldChg chg="addSp modSp mod">
        <pc:chgData name="Roberto Gallardo" userId="49a044883f185952" providerId="LiveId" clId="{60A9924B-EC74-49ED-8061-BD28F43D0312}" dt="2023-03-09T01:06:28.143" v="48" actId="1076"/>
        <pc:sldMkLst>
          <pc:docMk/>
          <pc:sldMk cId="1418533539" sldId="271"/>
        </pc:sldMkLst>
        <pc:picChg chg="add mod">
          <ac:chgData name="Roberto Gallardo" userId="49a044883f185952" providerId="LiveId" clId="{60A9924B-EC74-49ED-8061-BD28F43D0312}" dt="2023-03-09T01:06:28.143" v="48" actId="1076"/>
          <ac:picMkLst>
            <pc:docMk/>
            <pc:sldMk cId="1418533539" sldId="271"/>
            <ac:picMk id="6" creationId="{A83A3825-066D-55D9-31ED-5E5526D4978D}"/>
          </ac:picMkLst>
        </pc:picChg>
      </pc:sldChg>
      <pc:sldChg chg="addSp modSp mod">
        <pc:chgData name="Roberto Gallardo" userId="49a044883f185952" providerId="LiveId" clId="{60A9924B-EC74-49ED-8061-BD28F43D0312}" dt="2023-03-09T01:08:30.003" v="115" actId="1036"/>
        <pc:sldMkLst>
          <pc:docMk/>
          <pc:sldMk cId="2124848710" sldId="281"/>
        </pc:sldMkLst>
        <pc:picChg chg="add mod">
          <ac:chgData name="Roberto Gallardo" userId="49a044883f185952" providerId="LiveId" clId="{60A9924B-EC74-49ED-8061-BD28F43D0312}" dt="2023-03-09T01:08:30.003" v="115" actId="1036"/>
          <ac:picMkLst>
            <pc:docMk/>
            <pc:sldMk cId="2124848710" sldId="281"/>
            <ac:picMk id="6" creationId="{30355C59-1C23-3E46-7456-151F0BBABF66}"/>
          </ac:picMkLst>
        </pc:picChg>
      </pc:sldChg>
      <pc:sldChg chg="addSp modSp mod">
        <pc:chgData name="Roberto Gallardo" userId="49a044883f185952" providerId="LiveId" clId="{60A9924B-EC74-49ED-8061-BD28F43D0312}" dt="2023-03-09T01:08:49.433" v="133" actId="1036"/>
        <pc:sldMkLst>
          <pc:docMk/>
          <pc:sldMk cId="2028175529" sldId="282"/>
        </pc:sldMkLst>
        <pc:picChg chg="add mod">
          <ac:chgData name="Roberto Gallardo" userId="49a044883f185952" providerId="LiveId" clId="{60A9924B-EC74-49ED-8061-BD28F43D0312}" dt="2023-03-09T01:08:49.433" v="133" actId="1036"/>
          <ac:picMkLst>
            <pc:docMk/>
            <pc:sldMk cId="2028175529" sldId="282"/>
            <ac:picMk id="7" creationId="{56F9C269-CA24-9509-3D0D-46DD776032D5}"/>
          </ac:picMkLst>
        </pc:picChg>
      </pc:sldChg>
      <pc:sldChg chg="addSp modSp mod">
        <pc:chgData name="Roberto Gallardo" userId="49a044883f185952" providerId="LiveId" clId="{60A9924B-EC74-49ED-8061-BD28F43D0312}" dt="2023-03-09T01:09:07.188" v="154" actId="1035"/>
        <pc:sldMkLst>
          <pc:docMk/>
          <pc:sldMk cId="1326517747" sldId="283"/>
        </pc:sldMkLst>
        <pc:picChg chg="add mod">
          <ac:chgData name="Roberto Gallardo" userId="49a044883f185952" providerId="LiveId" clId="{60A9924B-EC74-49ED-8061-BD28F43D0312}" dt="2023-03-09T01:09:07.188" v="154" actId="1035"/>
          <ac:picMkLst>
            <pc:docMk/>
            <pc:sldMk cId="1326517747" sldId="283"/>
            <ac:picMk id="7" creationId="{8BC2964F-9412-4650-DCC8-04933E0EDBF9}"/>
          </ac:picMkLst>
        </pc:picChg>
      </pc:sldChg>
      <pc:sldChg chg="addSp modSp mod">
        <pc:chgData name="Roberto Gallardo" userId="49a044883f185952" providerId="LiveId" clId="{60A9924B-EC74-49ED-8061-BD28F43D0312}" dt="2023-03-09T01:09:24.478" v="176" actId="1036"/>
        <pc:sldMkLst>
          <pc:docMk/>
          <pc:sldMk cId="783739251" sldId="284"/>
        </pc:sldMkLst>
        <pc:picChg chg="add mod">
          <ac:chgData name="Roberto Gallardo" userId="49a044883f185952" providerId="LiveId" clId="{60A9924B-EC74-49ED-8061-BD28F43D0312}" dt="2023-03-09T01:09:24.478" v="176" actId="1036"/>
          <ac:picMkLst>
            <pc:docMk/>
            <pc:sldMk cId="783739251" sldId="284"/>
            <ac:picMk id="7" creationId="{4DA0F718-EF30-50F5-1300-60ADF065F045}"/>
          </ac:picMkLst>
        </pc:picChg>
      </pc:sldChg>
      <pc:sldChg chg="addSp modSp mod">
        <pc:chgData name="Roberto Gallardo" userId="49a044883f185952" providerId="LiveId" clId="{60A9924B-EC74-49ED-8061-BD28F43D0312}" dt="2023-03-09T01:09:42.567" v="201" actId="1036"/>
        <pc:sldMkLst>
          <pc:docMk/>
          <pc:sldMk cId="1676122233" sldId="285"/>
        </pc:sldMkLst>
        <pc:picChg chg="add mod">
          <ac:chgData name="Roberto Gallardo" userId="49a044883f185952" providerId="LiveId" clId="{60A9924B-EC74-49ED-8061-BD28F43D0312}" dt="2023-03-09T01:09:42.567" v="201" actId="1036"/>
          <ac:picMkLst>
            <pc:docMk/>
            <pc:sldMk cId="1676122233" sldId="285"/>
            <ac:picMk id="7" creationId="{AFA5F5DC-1E73-9877-50C5-2FC94F4C541E}"/>
          </ac:picMkLst>
        </pc:picChg>
      </pc:sldChg>
      <pc:sldChg chg="addSp modSp mod">
        <pc:chgData name="Roberto Gallardo" userId="49a044883f185952" providerId="LiveId" clId="{60A9924B-EC74-49ED-8061-BD28F43D0312}" dt="2023-03-09T01:09:58.031" v="224" actId="1036"/>
        <pc:sldMkLst>
          <pc:docMk/>
          <pc:sldMk cId="3100398757" sldId="286"/>
        </pc:sldMkLst>
        <pc:picChg chg="add mod">
          <ac:chgData name="Roberto Gallardo" userId="49a044883f185952" providerId="LiveId" clId="{60A9924B-EC74-49ED-8061-BD28F43D0312}" dt="2023-03-09T01:09:58.031" v="224" actId="1036"/>
          <ac:picMkLst>
            <pc:docMk/>
            <pc:sldMk cId="3100398757" sldId="286"/>
            <ac:picMk id="7" creationId="{D8EFEC92-C258-2C5C-87F1-BDFEF349E360}"/>
          </ac:picMkLst>
        </pc:picChg>
      </pc:sldChg>
      <pc:sldChg chg="addSp modSp mod">
        <pc:chgData name="Roberto Gallardo" userId="49a044883f185952" providerId="LiveId" clId="{60A9924B-EC74-49ED-8061-BD28F43D0312}" dt="2023-03-09T01:10:14.611" v="250" actId="1035"/>
        <pc:sldMkLst>
          <pc:docMk/>
          <pc:sldMk cId="1546475425" sldId="287"/>
        </pc:sldMkLst>
        <pc:picChg chg="add mod">
          <ac:chgData name="Roberto Gallardo" userId="49a044883f185952" providerId="LiveId" clId="{60A9924B-EC74-49ED-8061-BD28F43D0312}" dt="2023-03-09T01:10:14.611" v="250" actId="1035"/>
          <ac:picMkLst>
            <pc:docMk/>
            <pc:sldMk cId="1546475425" sldId="287"/>
            <ac:picMk id="7" creationId="{56CBA2A2-A666-1C90-217F-9382CB1766D3}"/>
          </ac:picMkLst>
        </pc:picChg>
      </pc:sldChg>
      <pc:sldChg chg="addSp modSp mod">
        <pc:chgData name="Roberto Gallardo" userId="49a044883f185952" providerId="LiveId" clId="{60A9924B-EC74-49ED-8061-BD28F43D0312}" dt="2023-03-09T01:10:48.387" v="302" actId="1035"/>
        <pc:sldMkLst>
          <pc:docMk/>
          <pc:sldMk cId="1380517306" sldId="288"/>
        </pc:sldMkLst>
        <pc:picChg chg="add mod">
          <ac:chgData name="Roberto Gallardo" userId="49a044883f185952" providerId="LiveId" clId="{60A9924B-EC74-49ED-8061-BD28F43D0312}" dt="2023-03-09T01:10:48.387" v="302" actId="1035"/>
          <ac:picMkLst>
            <pc:docMk/>
            <pc:sldMk cId="1380517306" sldId="288"/>
            <ac:picMk id="7" creationId="{167349BE-9FEE-A90E-A274-7C2740FDF158}"/>
          </ac:picMkLst>
        </pc:picChg>
      </pc:sldChg>
      <pc:sldChg chg="addSp modSp mod">
        <pc:chgData name="Roberto Gallardo" userId="49a044883f185952" providerId="LiveId" clId="{60A9924B-EC74-49ED-8061-BD28F43D0312}" dt="2023-03-09T01:11:06.963" v="329" actId="1036"/>
        <pc:sldMkLst>
          <pc:docMk/>
          <pc:sldMk cId="1388671151" sldId="289"/>
        </pc:sldMkLst>
        <pc:picChg chg="add mod">
          <ac:chgData name="Roberto Gallardo" userId="49a044883f185952" providerId="LiveId" clId="{60A9924B-EC74-49ED-8061-BD28F43D0312}" dt="2023-03-09T01:11:06.963" v="329" actId="1036"/>
          <ac:picMkLst>
            <pc:docMk/>
            <pc:sldMk cId="1388671151" sldId="289"/>
            <ac:picMk id="7" creationId="{08459E24-062D-BA3C-3A43-72D5CA7A690E}"/>
          </ac:picMkLst>
        </pc:picChg>
      </pc:sldChg>
      <pc:sldChg chg="addSp modSp mod">
        <pc:chgData name="Roberto Gallardo" userId="49a044883f185952" providerId="LiveId" clId="{60A9924B-EC74-49ED-8061-BD28F43D0312}" dt="2023-03-09T01:12:17.419" v="376" actId="1036"/>
        <pc:sldMkLst>
          <pc:docMk/>
          <pc:sldMk cId="2355376039" sldId="290"/>
        </pc:sldMkLst>
        <pc:picChg chg="add mod">
          <ac:chgData name="Roberto Gallardo" userId="49a044883f185952" providerId="LiveId" clId="{60A9924B-EC74-49ED-8061-BD28F43D0312}" dt="2023-03-09T01:12:17.419" v="376" actId="1036"/>
          <ac:picMkLst>
            <pc:docMk/>
            <pc:sldMk cId="2355376039" sldId="290"/>
            <ac:picMk id="8" creationId="{E392262D-EA28-1EA6-B905-DF26B63581CB}"/>
          </ac:picMkLst>
        </pc:picChg>
      </pc:sldChg>
      <pc:sldChg chg="addSp modSp mod">
        <pc:chgData name="Roberto Gallardo" userId="49a044883f185952" providerId="LiveId" clId="{60A9924B-EC74-49ED-8061-BD28F43D0312}" dt="2023-03-09T01:12:34.679" v="406" actId="1036"/>
        <pc:sldMkLst>
          <pc:docMk/>
          <pc:sldMk cId="3757257295" sldId="291"/>
        </pc:sldMkLst>
        <pc:picChg chg="add mod">
          <ac:chgData name="Roberto Gallardo" userId="49a044883f185952" providerId="LiveId" clId="{60A9924B-EC74-49ED-8061-BD28F43D0312}" dt="2023-03-09T01:12:34.679" v="406" actId="1036"/>
          <ac:picMkLst>
            <pc:docMk/>
            <pc:sldMk cId="3757257295" sldId="291"/>
            <ac:picMk id="8" creationId="{307674EA-59A5-8BFB-07EE-AA208636BFD2}"/>
          </ac:picMkLst>
        </pc:picChg>
      </pc:sldChg>
      <pc:sldChg chg="addSp modSp mod">
        <pc:chgData name="Roberto Gallardo" userId="49a044883f185952" providerId="LiveId" clId="{60A9924B-EC74-49ED-8061-BD28F43D0312}" dt="2023-03-09T01:10:33.619" v="283" actId="1036"/>
        <pc:sldMkLst>
          <pc:docMk/>
          <pc:sldMk cId="1259856727" sldId="292"/>
        </pc:sldMkLst>
        <pc:picChg chg="add mod">
          <ac:chgData name="Roberto Gallardo" userId="49a044883f185952" providerId="LiveId" clId="{60A9924B-EC74-49ED-8061-BD28F43D0312}" dt="2023-03-09T01:10:33.619" v="283" actId="1036"/>
          <ac:picMkLst>
            <pc:docMk/>
            <pc:sldMk cId="1259856727" sldId="292"/>
            <ac:picMk id="7" creationId="{F5E201CE-6B64-D2D8-C599-30AD6667B064}"/>
          </ac:picMkLst>
        </pc:picChg>
      </pc:sldChg>
      <pc:sldChg chg="addSp modSp mod">
        <pc:chgData name="Roberto Gallardo" userId="49a044883f185952" providerId="LiveId" clId="{60A9924B-EC74-49ED-8061-BD28F43D0312}" dt="2023-03-09T01:08:04.067" v="100" actId="1038"/>
        <pc:sldMkLst>
          <pc:docMk/>
          <pc:sldMk cId="3324519687" sldId="293"/>
        </pc:sldMkLst>
        <pc:picChg chg="add mod">
          <ac:chgData name="Roberto Gallardo" userId="49a044883f185952" providerId="LiveId" clId="{60A9924B-EC74-49ED-8061-BD28F43D0312}" dt="2023-03-09T01:08:04.067" v="100" actId="1038"/>
          <ac:picMkLst>
            <pc:docMk/>
            <pc:sldMk cId="3324519687" sldId="293"/>
            <ac:picMk id="7" creationId="{0ECA2D0D-932D-8216-3C14-993DC45BE7BE}"/>
          </ac:picMkLst>
        </pc:picChg>
      </pc:sldChg>
      <pc:sldChg chg="addSp modSp mod">
        <pc:chgData name="Roberto Gallardo" userId="49a044883f185952" providerId="LiveId" clId="{60A9924B-EC74-49ED-8061-BD28F43D0312}" dt="2023-03-09T01:07:13.127" v="69" actId="1076"/>
        <pc:sldMkLst>
          <pc:docMk/>
          <pc:sldMk cId="3256182630" sldId="295"/>
        </pc:sldMkLst>
        <pc:picChg chg="add mod">
          <ac:chgData name="Roberto Gallardo" userId="49a044883f185952" providerId="LiveId" clId="{60A9924B-EC74-49ED-8061-BD28F43D0312}" dt="2023-03-09T01:07:13.127" v="69" actId="1076"/>
          <ac:picMkLst>
            <pc:docMk/>
            <pc:sldMk cId="3256182630" sldId="295"/>
            <ac:picMk id="7" creationId="{09992AC3-F726-79EA-830B-5049A5BB4461}"/>
          </ac:picMkLst>
        </pc:picChg>
      </pc:sldChg>
      <pc:sldChg chg="addSp modSp mod">
        <pc:chgData name="Roberto Gallardo" userId="49a044883f185952" providerId="LiveId" clId="{60A9924B-EC74-49ED-8061-BD28F43D0312}" dt="2023-03-09T01:07:41.943" v="84" actId="1036"/>
        <pc:sldMkLst>
          <pc:docMk/>
          <pc:sldMk cId="4057156843" sldId="296"/>
        </pc:sldMkLst>
        <pc:picChg chg="add mod">
          <ac:chgData name="Roberto Gallardo" userId="49a044883f185952" providerId="LiveId" clId="{60A9924B-EC74-49ED-8061-BD28F43D0312}" dt="2023-03-09T01:07:41.943" v="84" actId="1036"/>
          <ac:picMkLst>
            <pc:docMk/>
            <pc:sldMk cId="4057156843" sldId="296"/>
            <ac:picMk id="7" creationId="{D76ABE7E-7BA4-520E-3849-62CDCDFE8D1F}"/>
          </ac:picMkLst>
        </pc:picChg>
      </pc:sldChg>
      <pc:sldChg chg="addSp modSp mod">
        <pc:chgData name="Roberto Gallardo" userId="49a044883f185952" providerId="LiveId" clId="{60A9924B-EC74-49ED-8061-BD28F43D0312}" dt="2023-03-09T01:06:57.896" v="62" actId="1076"/>
        <pc:sldMkLst>
          <pc:docMk/>
          <pc:sldMk cId="2080110827" sldId="297"/>
        </pc:sldMkLst>
        <pc:picChg chg="add mod">
          <ac:chgData name="Roberto Gallardo" userId="49a044883f185952" providerId="LiveId" clId="{60A9924B-EC74-49ED-8061-BD28F43D0312}" dt="2023-03-09T01:06:57.896" v="62" actId="1076"/>
          <ac:picMkLst>
            <pc:docMk/>
            <pc:sldMk cId="2080110827" sldId="297"/>
            <ac:picMk id="6" creationId="{374C9528-37F3-93B2-745C-5DB916F977D4}"/>
          </ac:picMkLst>
        </pc:picChg>
      </pc:sldChg>
      <pc:sldChg chg="addSp modSp mod">
        <pc:chgData name="Roberto Gallardo" userId="49a044883f185952" providerId="LiveId" clId="{60A9924B-EC74-49ED-8061-BD28F43D0312}" dt="2023-03-09T01:06:41.911" v="55" actId="1076"/>
        <pc:sldMkLst>
          <pc:docMk/>
          <pc:sldMk cId="1532666867" sldId="298"/>
        </pc:sldMkLst>
        <pc:picChg chg="add mod">
          <ac:chgData name="Roberto Gallardo" userId="49a044883f185952" providerId="LiveId" clId="{60A9924B-EC74-49ED-8061-BD28F43D0312}" dt="2023-03-09T01:06:41.911" v="55" actId="1076"/>
          <ac:picMkLst>
            <pc:docMk/>
            <pc:sldMk cId="1532666867" sldId="298"/>
            <ac:picMk id="6" creationId="{917DC5DA-D79F-06C3-D35D-08A4A38403DB}"/>
          </ac:picMkLst>
        </pc:picChg>
      </pc:sldChg>
      <pc:sldChg chg="addSp modSp mod">
        <pc:chgData name="Roberto Gallardo" userId="49a044883f185952" providerId="LiveId" clId="{60A9924B-EC74-49ED-8061-BD28F43D0312}" dt="2023-03-09T01:11:58.416" v="352" actId="1035"/>
        <pc:sldMkLst>
          <pc:docMk/>
          <pc:sldMk cId="1951376777" sldId="299"/>
        </pc:sldMkLst>
        <pc:picChg chg="add mod">
          <ac:chgData name="Roberto Gallardo" userId="49a044883f185952" providerId="LiveId" clId="{60A9924B-EC74-49ED-8061-BD28F43D0312}" dt="2023-03-09T01:11:58.416" v="352" actId="1035"/>
          <ac:picMkLst>
            <pc:docMk/>
            <pc:sldMk cId="1951376777" sldId="299"/>
            <ac:picMk id="7" creationId="{D0140E0D-8F58-72F5-11D7-F2627EB338DB}"/>
          </ac:picMkLst>
        </pc:picChg>
      </pc:sldChg>
      <pc:sldChg chg="modSp mod">
        <pc:chgData name="Roberto Gallardo" userId="49a044883f185952" providerId="LiveId" clId="{60A9924B-EC74-49ED-8061-BD28F43D0312}" dt="2023-02-25T19:16:16.844" v="40" actId="14100"/>
        <pc:sldMkLst>
          <pc:docMk/>
          <pc:sldMk cId="2366022307" sldId="306"/>
        </pc:sldMkLst>
        <pc:spChg chg="mod">
          <ac:chgData name="Roberto Gallardo" userId="49a044883f185952" providerId="LiveId" clId="{60A9924B-EC74-49ED-8061-BD28F43D0312}" dt="2023-02-25T19:15:55.929" v="26" actId="1035"/>
          <ac:spMkLst>
            <pc:docMk/>
            <pc:sldMk cId="2366022307" sldId="306"/>
            <ac:spMk id="11" creationId="{09F5AE19-B4E3-7788-F25F-CDA80D596DAF}"/>
          </ac:spMkLst>
        </pc:spChg>
        <pc:grpChg chg="mod">
          <ac:chgData name="Roberto Gallardo" userId="49a044883f185952" providerId="LiveId" clId="{60A9924B-EC74-49ED-8061-BD28F43D0312}" dt="2023-02-25T19:15:44.877" v="18" actId="1035"/>
          <ac:grpSpMkLst>
            <pc:docMk/>
            <pc:sldMk cId="2366022307" sldId="306"/>
            <ac:grpSpMk id="6" creationId="{4BC0EAD3-A621-359E-F822-1BC272A15D80}"/>
          </ac:grpSpMkLst>
        </pc:grpChg>
        <pc:cxnChg chg="mod">
          <ac:chgData name="Roberto Gallardo" userId="49a044883f185952" providerId="LiveId" clId="{60A9924B-EC74-49ED-8061-BD28F43D0312}" dt="2023-02-25T19:16:06.128" v="38" actId="1035"/>
          <ac:cxnSpMkLst>
            <pc:docMk/>
            <pc:sldMk cId="2366022307" sldId="306"/>
            <ac:cxnSpMk id="27" creationId="{F0CF8142-8895-D0A8-A662-E40568742508}"/>
          </ac:cxnSpMkLst>
        </pc:cxnChg>
        <pc:cxnChg chg="mod">
          <ac:chgData name="Roberto Gallardo" userId="49a044883f185952" providerId="LiveId" clId="{60A9924B-EC74-49ED-8061-BD28F43D0312}" dt="2023-02-25T19:16:11.060" v="39" actId="14100"/>
          <ac:cxnSpMkLst>
            <pc:docMk/>
            <pc:sldMk cId="2366022307" sldId="306"/>
            <ac:cxnSpMk id="28" creationId="{15C28C80-F0E1-159F-F103-CEA53436F6F9}"/>
          </ac:cxnSpMkLst>
        </pc:cxnChg>
        <pc:cxnChg chg="mod">
          <ac:chgData name="Roberto Gallardo" userId="49a044883f185952" providerId="LiveId" clId="{60A9924B-EC74-49ED-8061-BD28F43D0312}" dt="2023-02-25T19:16:16.844" v="40"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Transylvania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E3AA9C4-F793-3463-05FA-7EC0FCD21099}"/>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6B5B053-BFED-A845-EA81-E0722D3FC84E}"/>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83A3825-066D-55D9-31ED-5E5526D497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17DC5DA-D79F-06C3-D35D-08A4A38403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74C9528-37F3-93B2-745C-5DB916F977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5D023FA-5DCB-0970-0940-ADFC82756C87}"/>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09992AC3-F726-79EA-830B-5049A5BB44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C650BD1-DC9C-9EC3-6651-10A0BDA80CD9}"/>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D76ABE7E-7BA4-520E-3849-62CDCDFE8D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18"/>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CE2B42E-CCC0-9700-52F9-3A599A67794E}"/>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0ECA2D0D-932D-8216-3C14-993DC45BE7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509" y="1411832"/>
            <a:ext cx="6400801"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1468BEA-86D6-3506-5C09-9C8BF74B2F2F}"/>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30355C59-1C23-3E46-7456-151F0BBABF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4" y="1420541"/>
            <a:ext cx="6400801"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44E71723-A0A4-32EF-B18E-63AF4529438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6F9C269-CA24-9509-3D0D-46DD776032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2572"/>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5F9E293B-59E2-1326-8FB8-4F34D80FEC8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BC2964F-9412-4650-DCC8-04933E0EDB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149"/>
            <a:ext cx="6404826" cy="452921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20EC096C-A62D-05CE-391B-0E6D39FC1770}"/>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DA0F718-EF30-50F5-1300-60ADF065F0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762"/>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C972C54F-04E1-392A-6860-AB377A4D7358}"/>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FA5F5DC-1E73-9877-50C5-2FC94F4C54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86"/>
            <a:ext cx="6403881" cy="452855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4D284150-8BCE-828A-E408-C5DC44E3A782}"/>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8EFEC92-C258-2C5C-87F1-BDFEF349E3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057"/>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3EAB6E8D-C6CA-625D-C3C7-868F3F2F72B8}"/>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6CBA2A2-A666-1C90-217F-9382CB1766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051"/>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3BF5AE9F-1007-D6B8-D9B9-F5E1646A617E}"/>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5E201CE-6B64-D2D8-C599-30AD6667B0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0228"/>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AF43157F-5012-88E4-7662-BB51D9D725E1}"/>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67349BE-9FEE-A90E-A274-7C2740FDF1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1246" y="1417324"/>
            <a:ext cx="6388354" cy="451757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3724B351-5A60-45D2-0E36-5B50B849A2A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08459E24-062D-BA3C-3A43-72D5CA7A69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31"/>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5486C8CA-2A3E-D96D-68C3-62F5A873F54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D0140E0D-8F58-72F5-11D7-F2627EB338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614"/>
            <a:ext cx="6409510" cy="453253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A15FBA5B-BA4E-0923-78A4-40E6BC774C46}"/>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E392262D-EA28-1EA6-B905-DF26B63581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48"/>
            <a:ext cx="6400801"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584E0E12-ADCA-E993-4475-E594E69A3B50}"/>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B56FB1A3-6D0A-20AD-5F0D-EB0F2C45025D}"/>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307674EA-59A5-8BFB-07EE-AA208636BF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98078"/>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C5952B2B-3AE5-D17B-530E-1D65DE9A7026}"/>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24A3BBF-966C-0068-090E-E893F3225AA4}"/>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D8B648-23CD-FC02-4D73-FA2C5650243B}"/>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55582" y="2167813"/>
            <a:ext cx="1198148" cy="1928763"/>
            <a:chOff x="10485745" y="2952837"/>
            <a:chExt cx="1198148" cy="19287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317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9528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952837"/>
              <a:ext cx="0" cy="578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24336"/>
              <a:ext cx="0" cy="4572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181689"/>
            <a:ext cx="1198148" cy="1943352"/>
            <a:chOff x="2775759" y="2548658"/>
            <a:chExt cx="1198148" cy="19433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1134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486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48658"/>
              <a:ext cx="0" cy="5647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4005953"/>
              <a:ext cx="0" cy="4860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ED8A0EC4-2E17-CB20-A601-DF976D53F10D}"/>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C22C688E-7D45-6D70-1BE5-B45658A2DC6A}"/>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CE51E4E-3632-F431-61D2-5A09E185F4C3}"/>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F6BC095-0E29-2C8D-44F5-2A6C53C19513}"/>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7C342E09-603E-37E0-C9CA-5687F8C4C4D5}"/>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297AAE75-9ED9-4117-B15E-AC5F8E4852BC}"/>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5A63962B-106E-ADFB-6DAD-DF21A113CC01}"/>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9AD64A2-85DE-B796-B5E2-ADB8CBE52C66}"/>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18</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9</cp:revision>
  <dcterms:created xsi:type="dcterms:W3CDTF">2022-07-04T13:32:28Z</dcterms:created>
  <dcterms:modified xsi:type="dcterms:W3CDTF">2023-03-09T01:12:42Z</dcterms:modified>
</cp:coreProperties>
</file>